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7"/>
  </p:notesMasterIdLst>
  <p:sldIdLst>
    <p:sldId id="262" r:id="rId5"/>
    <p:sldId id="260" r:id="rId6"/>
  </p:sldIdLst>
  <p:sldSz cx="12192000" cy="6858000"/>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70" autoAdjust="0"/>
    <p:restoredTop sz="94660"/>
  </p:normalViewPr>
  <p:slideViewPr>
    <p:cSldViewPr snapToGrid="0" showGuides="1">
      <p:cViewPr varScale="1">
        <p:scale>
          <a:sx n="114" d="100"/>
          <a:sy n="114" d="100"/>
        </p:scale>
        <p:origin x="480" y="168"/>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04.06.2024</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nr.›</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2</a:t>
            </a:fld>
            <a:endParaRPr lang="da-DK"/>
          </a:p>
        </p:txBody>
      </p:sp>
    </p:spTree>
    <p:extLst>
      <p:ext uri="{BB962C8B-B14F-4D97-AF65-F5344CB8AC3E}">
        <p14:creationId xmlns:p14="http://schemas.microsoft.com/office/powerpoint/2010/main" val="1001174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6/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6/4/24</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Hvad er en discipel overhovedet?</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a:bodyPr>
          <a:lstStyle/>
          <a:p>
            <a:r>
              <a:rPr lang="da-DK" dirty="0"/>
              <a:t>Da Jesus sender sine disciple ud i verden, forbereder han dem med en særlig tale. En tale, som både fortæller, hvad en discipel skal gøre, hvordan en discipel skal være – og ikke mindst, advarer mod den modstand en discipel vil møde. </a:t>
            </a:r>
          </a:p>
          <a:p>
            <a:r>
              <a:rPr lang="da-DK" dirty="0"/>
              <a:t>På mange måder har Jesus’ disciple levet i en anden tid end vores. Men der er noget grundlæggende i talen som også gælder for os i dag. Fordi Jesus er den samme – så vil det også betyde det samme at følge ham.</a:t>
            </a:r>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dirty="0"/>
              <a:t>Matthæusevangeliet kap. 10 v. 5-20. Jesus’ udsendelsestale til disciplene</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dirty="0"/>
              <a:t>Vi skal huske på vores grundlæggende kald.</a:t>
            </a:r>
          </a:p>
          <a:p>
            <a:r>
              <a:rPr lang="da-DK" dirty="0"/>
              <a:t>Vi skal blive bevidste om, hvordan en discipel skal være ifølge Jesus</a:t>
            </a:r>
          </a:p>
          <a:p>
            <a:r>
              <a:rPr lang="da-DK" dirty="0"/>
              <a:t>Vi skal forberede os på at møde modstand.</a:t>
            </a:r>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dirty="0"/>
              <a:t>Hvilke elementer af Jesus’ tale bliver du inspireret af? Af alle de ting, han nævner: Hvad tænder en særlig gnist i dig?</a:t>
            </a:r>
          </a:p>
          <a:p>
            <a:r>
              <a:rPr lang="da-DK" dirty="0"/>
              <a:t>Hvad synes du, er særligt udfordrende eller provokerende i talen? Hvad har du ikke lyst til? </a:t>
            </a:r>
            <a:r>
              <a:rPr lang="da-DK"/>
              <a:t>Og hvorfor?</a:t>
            </a:r>
            <a:endParaRPr lang="da-DK" dirty="0"/>
          </a:p>
          <a:p>
            <a:endParaRPr lang="da-DK"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endParaRPr lang="da-DK" dirty="0"/>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lstStyle/>
          <a:p>
            <a:r>
              <a:rPr lang="da-DK" dirty="0"/>
              <a:t>Kan vi blive bedre til at </a:t>
            </a:r>
            <a:r>
              <a:rPr lang="da-DK"/>
              <a:t>sige sandheden om vores tro? </a:t>
            </a:r>
            <a:r>
              <a:rPr lang="da-DK" dirty="0"/>
              <a:t>Også selvom det kan koste?</a:t>
            </a:r>
          </a:p>
        </p:txBody>
      </p:sp>
    </p:spTree>
    <p:extLst>
      <p:ext uri="{BB962C8B-B14F-4D97-AF65-F5344CB8AC3E}">
        <p14:creationId xmlns:p14="http://schemas.microsoft.com/office/powerpoint/2010/main" val="471275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Eksempel: ”Klar til kamp” Nytår 2023</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lnSpcReduction="10000"/>
          </a:bodyPr>
          <a:lstStyle/>
          <a:p>
            <a:r>
              <a:rPr lang="da-DK" sz="1000" dirty="0"/>
              <a:t>Judas brev er et formanings ord til kristne om at ”kæmpe for den tro, som én gang for alle er overdraget de hellige” Jud.v3</a:t>
            </a:r>
            <a:br>
              <a:rPr lang="da-DK" sz="1000" dirty="0"/>
            </a:br>
            <a:r>
              <a:rPr lang="da-DK" sz="1000" dirty="0"/>
              <a:t>Ligesom andre steder i NT (Efeser.6), bliver vi fortalt at vi, som kristne, er udsat for en hensynsløs åndelig kamp fra den sataniske verden. Den angriber os indefra og underminer vores hengivelse til Jesus, igennem fristelse, fald og falsk lære. Når vi er blevet møre kommer kampen også ofte udefra i form af forfølgelse og trængsel, for at få os til at opgive troen.</a:t>
            </a:r>
            <a:br>
              <a:rPr lang="da-DK" sz="1000" dirty="0"/>
            </a:br>
            <a:r>
              <a:rPr lang="da-DK" sz="1000" dirty="0"/>
              <a:t>Judas beskriver fire ”kampmåder”, som vi kan bruge til at beskytte os selv og sejre ved Gud: 1) At </a:t>
            </a:r>
            <a:r>
              <a:rPr lang="da-DK" sz="1000" u="sng" dirty="0"/>
              <a:t>opbygge os selv i troen</a:t>
            </a:r>
            <a:r>
              <a:rPr lang="da-DK" sz="1000" dirty="0"/>
              <a:t>. Dvs. kende og forstå den kristne troslære, så vi ejer troens overbevisning. 2) </a:t>
            </a:r>
            <a:r>
              <a:rPr lang="da-DK" sz="1000" u="sng" dirty="0"/>
              <a:t>Bede i Helligånden.</a:t>
            </a:r>
            <a:r>
              <a:rPr lang="da-DK" sz="1000" dirty="0"/>
              <a:t> Dvs. lade Helligånden inspirere, vejlede og fylde vores bønner. 3) </a:t>
            </a:r>
            <a:r>
              <a:rPr lang="da-DK" sz="1000" u="sng" dirty="0"/>
              <a:t>Bevare os i Guds kærlighed.</a:t>
            </a:r>
            <a:r>
              <a:rPr lang="da-DK" sz="1000" dirty="0"/>
              <a:t> Dvs. pleje vores åndelige forhold til Gud, ved at lytte (Bibellæsning) og tale (tilbede og bede) til Gud, samt i lydighed følge hans vilje i vores livsførelse. 4) </a:t>
            </a:r>
            <a:r>
              <a:rPr lang="da-DK" sz="1000" u="sng" dirty="0"/>
              <a:t>Vente på Jesus Kristi komme.</a:t>
            </a:r>
            <a:r>
              <a:rPr lang="da-DK" sz="1000" dirty="0"/>
              <a:t> Dvs. bevare vores håb på at det er Jesus der sejrer til sidst og vil udrydde al ondskab og indføre Guds herligheds Rige. Men derudover at Jesus også nu er nærværende for at føre os igennem døden og også komme os til hjælp i vores kamp og trængsel. Judas afslutter sit brev med at forsikre os om Guds evige velvilje imod os er fast forankret i hans </a:t>
            </a:r>
            <a:r>
              <a:rPr lang="da-DK" sz="1000" dirty="0" err="1"/>
              <a:t>frelsesindgreb</a:t>
            </a:r>
            <a:endParaRPr lang="da-DK" sz="1000" u="sng"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a:xfrm>
            <a:off x="2275703" y="966681"/>
            <a:ext cx="4791301" cy="901370"/>
          </a:xfrm>
        </p:spPr>
        <p:txBody>
          <a:bodyPr/>
          <a:lstStyle/>
          <a:p>
            <a:r>
              <a:rPr lang="da-DK" sz="800" dirty="0"/>
              <a:t>Men I, mine kære, skal opbygge jer selv på jeres hellige tro, og bede i Helligånden. Bevar jer selv i Guds kærlighed, mens I venter på, at vor Herre Jesus Kristi barmhjertighed fører jer til evigt liv. 	Judas v20-21 </a:t>
            </a:r>
            <a:br>
              <a:rPr lang="da-DK" sz="800" dirty="0"/>
            </a:br>
            <a:r>
              <a:rPr lang="da-DK" sz="800" dirty="0"/>
              <a:t>Han som formår at værne jer mod fald og stille jer overfor sin herlighed, uden fejl og fulde af jubel, den eneste Gud, vor frelser ved vor Herre Jesus Kristus, ham være ære og majestæt, magt og myndighed, før tidens begyndelse, nu og i al evighed. Amen Judas v.24-25</a:t>
            </a: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dirty="0"/>
              <a:t>Kend vores åndelige kampmiljø. Forførelse og Forfølgelse.</a:t>
            </a:r>
          </a:p>
          <a:p>
            <a:r>
              <a:rPr lang="da-DK" dirty="0"/>
              <a:t>Anvend og vedligehold brugen af Guds åndelige ressourcer til den åndelige kamp</a:t>
            </a:r>
          </a:p>
          <a:p>
            <a:r>
              <a:rPr lang="da-DK" dirty="0"/>
              <a:t>Hvil I at Gud har sejret i Jesus Kristus og vil holde dig evigt fast, som sit elskede barn.</a:t>
            </a:r>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dirty="0"/>
              <a:t>Hvordan oplever du den åndelige kamp i dit indre og i dit ydre?</a:t>
            </a:r>
          </a:p>
          <a:p>
            <a:r>
              <a:rPr lang="da-DK" dirty="0"/>
              <a:t>Hvordan har du oplevet at sejre i kampen? </a:t>
            </a:r>
            <a:br>
              <a:rPr lang="da-DK" dirty="0"/>
            </a:br>
            <a:r>
              <a:rPr lang="da-DK" dirty="0"/>
              <a:t>Hvordan har Gud hjulpet dig, når når du har lidt smertefulde tab eller når du har faldet i synd?</a:t>
            </a:r>
          </a:p>
          <a:p>
            <a:r>
              <a:rPr lang="da-DK" dirty="0"/>
              <a:t>Hvordan oplever du at bede i Helligånden? (Ved hans inspiration, vejledning og virke igennem din bøn) </a:t>
            </a:r>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dirty="0"/>
              <a:t>Bed for opfølgning på julehjælpsprojektet (Kurset ”opdag tro”, ”onsdags cafeen, samtaler og forbøn med folk). </a:t>
            </a:r>
            <a:br>
              <a:rPr lang="da-DK" dirty="0"/>
            </a:br>
            <a:r>
              <a:rPr lang="da-DK" dirty="0"/>
              <a:t>Bed for Shan missionen (David og Nita rejser tilbage d. 16/1); for NAS missionen; Hannah og Mathilde. Deltag en eller flere gange i </a:t>
            </a:r>
            <a:r>
              <a:rPr lang="da-DK" dirty="0" err="1"/>
              <a:t>Bedeugen</a:t>
            </a:r>
            <a:r>
              <a:rPr lang="da-DK" dirty="0"/>
              <a:t> (9—15/1) med andre kirker.</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fontScale="92500"/>
          </a:bodyPr>
          <a:lstStyle/>
          <a:p>
            <a:r>
              <a:rPr lang="da-DK" dirty="0"/>
              <a:t>Meditere på de to vers grupperinger (v20-21; 24-25). </a:t>
            </a:r>
            <a:r>
              <a:rPr lang="da-DK" dirty="0" err="1"/>
              <a:t>Dvs</a:t>
            </a:r>
            <a:r>
              <a:rPr lang="da-DK" dirty="0"/>
              <a:t> reflektere over de enkelte ord og træk inspiration fra dem.</a:t>
            </a:r>
            <a:br>
              <a:rPr lang="da-DK" dirty="0"/>
            </a:br>
            <a:r>
              <a:rPr lang="da-DK" dirty="0"/>
              <a:t>Brug dem til at tilbede Gud og inspirere din bøn.</a:t>
            </a:r>
          </a:p>
        </p:txBody>
      </p:sp>
    </p:spTree>
    <p:extLst>
      <p:ext uri="{BB962C8B-B14F-4D97-AF65-F5344CB8AC3E}">
        <p14:creationId xmlns:p14="http://schemas.microsoft.com/office/powerpoint/2010/main" val="39545814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7ce7b44-c394-42d1-a5e7-f247d1b5b78c" xsi:nil="true"/>
    <lcf76f155ced4ddcb4097134ff3c332f xmlns="44168d15-525b-443e-9103-846403f98ac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E62A6E336102A409DCE6EAAEEBBB5B4" ma:contentTypeVersion="12" ma:contentTypeDescription="Create a new document." ma:contentTypeScope="" ma:versionID="cc2de7ca1619c8be3262bce65819789b">
  <xsd:schema xmlns:xsd="http://www.w3.org/2001/XMLSchema" xmlns:xs="http://www.w3.org/2001/XMLSchema" xmlns:p="http://schemas.microsoft.com/office/2006/metadata/properties" xmlns:ns2="44168d15-525b-443e-9103-846403f98ac9" xmlns:ns3="c7ce7b44-c394-42d1-a5e7-f247d1b5b78c" targetNamespace="http://schemas.microsoft.com/office/2006/metadata/properties" ma:root="true" ma:fieldsID="eb3e64a27cc5e990567291ea33b205b2" ns2:_="" ns3:_="">
    <xsd:import namespace="44168d15-525b-443e-9103-846403f98ac9"/>
    <xsd:import namespace="c7ce7b44-c394-42d1-a5e7-f247d1b5b78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168d15-525b-443e-9103-846403f98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9731afd-e726-4161-a857-61de5a62a7a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ce7b44-c394-42d1-a5e7-f247d1b5b78c"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7bff322-4040-4798-a219-743850e60bf2}" ma:internalName="TaxCatchAll" ma:showField="CatchAllData" ma:web="c7ce7b44-c394-42d1-a5e7-f247d1b5b78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 ds:uri="c7ce7b44-c394-42d1-a5e7-f247d1b5b78c"/>
    <ds:schemaRef ds:uri="44168d15-525b-443e-9103-846403f98ac9"/>
  </ds:schemaRefs>
</ds:datastoreItem>
</file>

<file path=customXml/itemProps2.xml><?xml version="1.0" encoding="utf-8"?>
<ds:datastoreItem xmlns:ds="http://schemas.openxmlformats.org/officeDocument/2006/customXml" ds:itemID="{B46001CD-ABF6-484C-93A6-46DF5CBD78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168d15-525b-443e-9103-846403f98ac9"/>
    <ds:schemaRef ds:uri="c7ce7b44-c394-42d1-a5e7-f247d1b5b7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78</TotalTime>
  <Words>821</Words>
  <Application>Microsoft Macintosh PowerPoint</Application>
  <PresentationFormat>Widescreen</PresentationFormat>
  <Paragraphs>23</Paragraphs>
  <Slides>2</Slides>
  <Notes>2</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2</vt:i4>
      </vt:variant>
    </vt:vector>
  </HeadingPairs>
  <TitlesOfParts>
    <vt:vector size="8" baseType="lpstr">
      <vt:lpstr>Calibri</vt:lpstr>
      <vt:lpstr>Century Gothic</vt:lpstr>
      <vt:lpstr>Verdana</vt:lpstr>
      <vt:lpstr>Wingdings 3</vt:lpstr>
      <vt:lpstr>Wisp</vt:lpstr>
      <vt:lpstr>think-cell Slide</vt:lpstr>
      <vt:lpstr>Hvad er en discipel overhovedet?</vt:lpstr>
      <vt:lpstr>Eksempel: ”Klar til kamp” Nytår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hael Skov Andersen</cp:lastModifiedBy>
  <cp:revision>88</cp:revision>
  <dcterms:created xsi:type="dcterms:W3CDTF">2019-08-19T18:08:22Z</dcterms:created>
  <dcterms:modified xsi:type="dcterms:W3CDTF">2024-06-04T07:3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62A6E336102A409DCE6EAAEEBBB5B4</vt:lpwstr>
  </property>
</Properties>
</file>